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6" r:id="rId1"/>
  </p:sldMasterIdLst>
  <p:sldIdLst>
    <p:sldId id="256" r:id="rId2"/>
    <p:sldId id="257" r:id="rId3"/>
    <p:sldId id="259" r:id="rId4"/>
    <p:sldId id="264" r:id="rId5"/>
    <p:sldId id="265" r:id="rId6"/>
    <p:sldId id="261" r:id="rId7"/>
    <p:sldId id="269" r:id="rId8"/>
    <p:sldId id="271" r:id="rId9"/>
    <p:sldId id="272" r:id="rId10"/>
    <p:sldId id="273" r:id="rId11"/>
    <p:sldId id="274" r:id="rId12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5226" autoAdjust="0"/>
  </p:normalViewPr>
  <p:slideViewPr>
    <p:cSldViewPr snapToGrid="0">
      <p:cViewPr varScale="1">
        <p:scale>
          <a:sx n="82" d="100"/>
          <a:sy n="82" d="100"/>
        </p:scale>
        <p:origin x="720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1778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8829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645196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6007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1997794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8093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6598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8316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366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7399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7474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71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164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0162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4702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8481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AA05268-1CBA-4BFD-8FE7-8D288334E3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970010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20" imgW="473" imgH="473" progId="TCLayout.ActiveDocument.1">
                  <p:embed/>
                </p:oleObj>
              </mc:Choice>
              <mc:Fallback>
                <p:oleObj name="think-cell Slide" r:id="rId20" imgW="473" imgH="473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C60BCDE2-91FC-4D31-9519-A25A94753F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56898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DC88DF8-DDE7-4F51-9008-AE9EEF4843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9257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DFCCDB-249A-4AA9-A361-3BAAF14ECA9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anchor="ctr"/>
          <a:lstStyle/>
          <a:p>
            <a:pPr algn="l"/>
            <a:r>
              <a:rPr lang="en-US" b="1" dirty="0"/>
              <a:t>Lending Club case stud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8A1FCF-E7D4-47B2-A3B4-2F3267172C0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ctr"/>
          <a:lstStyle/>
          <a:p>
            <a:pPr algn="r"/>
            <a:r>
              <a:rPr lang="en-US" dirty="0"/>
              <a:t>Submitted by: Prasad &amp; Jitesh</a:t>
            </a:r>
          </a:p>
        </p:txBody>
      </p:sp>
    </p:spTree>
    <p:extLst>
      <p:ext uri="{BB962C8B-B14F-4D97-AF65-F5344CB8AC3E}">
        <p14:creationId xmlns:p14="http://schemas.microsoft.com/office/powerpoint/2010/main" val="18586090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5624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/>
          </a:bodyPr>
          <a:lstStyle/>
          <a:p>
            <a:r>
              <a:rPr lang="en-US" dirty="0"/>
              <a:t>Feature Engineer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1682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alculating the difference amount of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funded_amn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 and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funded_amnt_inv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. Issuing more/less loan amount than approved amount doesn't have any effect on charged off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alculated the percentage of installment in monthly income. If the Installment to Monthly income percentage is more than ~8%, the chances of charge off increases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000000"/>
              </a:solidFill>
              <a:effectLst/>
              <a:latin typeface="Helvetica Neue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41D004-CA15-B03A-0264-C4910C4119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88411" y="3306128"/>
            <a:ext cx="3531063" cy="290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1924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418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/>
          </a:bodyPr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3" y="1296140"/>
            <a:ext cx="8711714" cy="4495061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igh interest is directly related to high charge off, can try reducing the interest rat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hould issue loans carefully for E,F,G grades which has higher charge off percentag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f the installment is over 8% of the monthly income, the chances of charge off are higher, can try keeping the installment percentage low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hould issue loans carefully to people from NE state as they have ~60% charge off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s people who took loan for small business has high chance of charge off, should be cautious while issuing loans to small busines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hould also reduce the number of loan for CA State as it has more number of charge offs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1319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78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364218"/>
            <a:ext cx="9905998" cy="686540"/>
          </a:xfrm>
        </p:spPr>
        <p:txBody>
          <a:bodyPr vert="horz">
            <a:normAutofit/>
          </a:bodyPr>
          <a:lstStyle/>
          <a:p>
            <a:r>
              <a:rPr lang="en-US" dirty="0"/>
              <a:t>Case Study Summary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DFB2971-9033-4F62-85D2-7438D0DEB3AB}"/>
              </a:ext>
            </a:extLst>
          </p:cNvPr>
          <p:cNvSpPr txBox="1">
            <a:spLocks/>
          </p:cNvSpPr>
          <p:nvPr/>
        </p:nvSpPr>
        <p:spPr>
          <a:xfrm>
            <a:off x="1141413" y="1315209"/>
            <a:ext cx="822960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uilt understanding of the objective and different features in the 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ddressed the data quality issues including missing values and outlier treatment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Univariate analysis of categorial and continuous variable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erived new features from the data as per the domain understanding 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ivariate and segmented analysis with target and different feature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dentified key metrics and patterns leading to Charge off</a:t>
            </a:r>
          </a:p>
        </p:txBody>
      </p:sp>
    </p:spTree>
    <p:extLst>
      <p:ext uri="{BB962C8B-B14F-4D97-AF65-F5344CB8AC3E}">
        <p14:creationId xmlns:p14="http://schemas.microsoft.com/office/powerpoint/2010/main" val="3963955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102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336885"/>
            <a:ext cx="9905998" cy="686540"/>
          </a:xfrm>
        </p:spPr>
        <p:txBody>
          <a:bodyPr vert="horz">
            <a:normAutofit/>
          </a:bodyPr>
          <a:lstStyle/>
          <a:p>
            <a:r>
              <a:rPr lang="en-US" dirty="0"/>
              <a:t>Data Cleaning and Manipu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3" y="1296139"/>
            <a:ext cx="8229600" cy="457200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ropped the features having less than 20% fill rate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ropped the user behavior features which are not available before issuing the loan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ropped the records with current loan statu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nverted the data types of the features as per relevance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nterest rate, loan term to float from object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 fields to date from object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reated new columns with interest bins and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funded_amnt_inv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bins, and DTI bins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issing value imputations</a:t>
            </a:r>
          </a:p>
        </p:txBody>
      </p:sp>
    </p:spTree>
    <p:extLst>
      <p:ext uri="{BB962C8B-B14F-4D97-AF65-F5344CB8AC3E}">
        <p14:creationId xmlns:p14="http://schemas.microsoft.com/office/powerpoint/2010/main" val="3851372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4958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/>
          </a:bodyPr>
          <a:lstStyle/>
          <a:p>
            <a:r>
              <a:rPr lang="en-US" dirty="0"/>
              <a:t>Univariate Analysis – Continuous Variab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153" y="1296140"/>
            <a:ext cx="8229600" cy="4572000"/>
          </a:xfrm>
          <a:ln>
            <a:solidFill>
              <a:schemeClr val="bg1"/>
            </a:solidFill>
          </a:ln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ighest distribution of Issued amount lies is between 5000 to 15000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ighest distribution of Installment amount lies between 200 to 500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ighest distribution of interest rate lies between 10 to 15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ighest distribution of DTI lies between 8 to 18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b="0" i="0" dirty="0">
                <a:effectLst/>
                <a:latin typeface="-apple-system"/>
              </a:rPr>
              <a:t>A lot of features are quite skewed including annual income.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v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FB137F-0189-62C2-9786-70672DB6BC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1153" y="3906254"/>
            <a:ext cx="3274511" cy="23421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D4FD6EA-1207-C7A9-BF7D-782992C855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97741" y="3906254"/>
            <a:ext cx="3437395" cy="23421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D523AE0-C580-41E9-09A1-2E0B26FAAA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92955" y="3906254"/>
            <a:ext cx="3357459" cy="2342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119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7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/>
          </a:bodyPr>
          <a:lstStyle/>
          <a:p>
            <a:r>
              <a:rPr lang="en-US" dirty="0"/>
              <a:t>Univariate Analysis – Categorical Variab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153" y="1296139"/>
            <a:ext cx="9965240" cy="2353439"/>
          </a:xfrm>
          <a:ln>
            <a:solidFill>
              <a:schemeClr val="bg1"/>
            </a:solidFill>
          </a:ln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i="0" dirty="0">
                <a:effectLst/>
                <a:latin typeface="-apple-system"/>
              </a:rPr>
              <a:t>There are around 15 percent charged off loan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</a:rPr>
              <a:t>76% of loans term is 36 months rest are 60 months.</a:t>
            </a:r>
            <a:endParaRPr lang="en-US" b="0" i="0" dirty="0">
              <a:effectLst/>
              <a:latin typeface="-apple-system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</a:rPr>
              <a:t>Most number(~17500) of loans are taken for debt consolidation</a:t>
            </a:r>
          </a:p>
          <a:p>
            <a:pPr marL="0" indent="0"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6BDE09-9185-246A-9466-1955266F70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1153" y="3208422"/>
            <a:ext cx="3367894" cy="30399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35F3CF8-F45F-EE06-3450-F7E575DFCC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43885" y="3208422"/>
            <a:ext cx="3583835" cy="281939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218BDC6-3CCB-F3CE-88F9-F3195BF3B40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27720" y="3318710"/>
            <a:ext cx="3583838" cy="281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380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910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/>
          </a:bodyPr>
          <a:lstStyle/>
          <a:p>
            <a:r>
              <a:rPr lang="en-US" dirty="0"/>
              <a:t>Univariate Analysis – Categorical Variab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153" y="1296138"/>
            <a:ext cx="8229600" cy="4572000"/>
          </a:xfrm>
          <a:ln>
            <a:solidFill>
              <a:schemeClr val="bg1"/>
            </a:solidFill>
          </a:ln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</a:rPr>
              <a:t>States CA, NY, FL, Tx has highest number of loan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  <a:cs typeface="Calibri" panose="020F0502020204030204" pitchFamily="34" charset="0"/>
              </a:rPr>
              <a:t>Most number of loans are given to Grad A, B, C, 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  <a:cs typeface="Calibri" panose="020F0502020204030204" pitchFamily="34" charset="0"/>
              </a:rPr>
              <a:t>More number of loans are given to people with 10+ years, 1 year, 2 years experience respectively.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BB47CEB-7F98-E93B-902D-D1C0E984C6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1153" y="2995128"/>
            <a:ext cx="3535626" cy="31570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DC84C31-DA86-2CED-AF00-4645A09731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32356" y="2995128"/>
            <a:ext cx="3528895" cy="315701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755F7A6-8B2A-563E-912D-B3D6ADBA29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03562" y="2995128"/>
            <a:ext cx="3528897" cy="3157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7139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6259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/>
          </a:bodyPr>
          <a:lstStyle/>
          <a:p>
            <a:r>
              <a:rPr lang="en-US" dirty="0"/>
              <a:t>Bi-variate and Segmented analy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12824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If the loan term is 60 months, then there is more chance of being charged off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Interest rate is also higher for 60 months compared to 36 months term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On an average Charge off loans have higher rate of interest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7BAD60-BE7E-5AF7-E8E6-DD9286831A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1413" y="3112857"/>
            <a:ext cx="3703303" cy="283785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13A6955-B6EF-8D28-BBE2-25B7952C96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43842" y="3112857"/>
            <a:ext cx="3565422" cy="283785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57F7602-3AB7-79CA-C407-32A12C9958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52674" y="3172952"/>
            <a:ext cx="3718914" cy="271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57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/>
          </a:bodyPr>
          <a:lstStyle/>
          <a:p>
            <a:r>
              <a:rPr lang="en-US" dirty="0"/>
              <a:t>Bi-variate and Segmented analy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12824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Loans taken for Small business has a high percentage of charge offs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NE State has the highest charged-off percentage(almost 60 percent)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A State has a large number of charged-off loans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6ED286-77E3-2668-2664-2E0AC9AA14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1414" y="3084681"/>
            <a:ext cx="3959976" cy="32286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585E62A-9A90-8517-A4C9-8C74CCA6F5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22363" y="3101054"/>
            <a:ext cx="4199679" cy="3060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7403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/>
          </a:bodyPr>
          <a:lstStyle/>
          <a:p>
            <a:r>
              <a:rPr lang="en-US" dirty="0"/>
              <a:t>Bi-variate and Segmented analy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3053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Grades E, F, and G have high-interest rates and percentages of charged-off loans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If we look into subgrades F5 and G3 have more than 40 percent charged off loans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If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pub_rec_bankruptcies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 is high, then also there is more chance of being Charged off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harge-off percentage is slightly high(~2-4) for DTI range is between 15 to 27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harge-off is slightly high if the loan amount is greater than 30K</a:t>
            </a:r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</a:rPr>
              <a:t>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Employment length “unknown” has a 20 percent of charged off loans.</a:t>
            </a:r>
            <a:endParaRPr lang="en-IN" sz="1800" dirty="0">
              <a:solidFill>
                <a:schemeClr val="tx1">
                  <a:lumMod val="75000"/>
                  <a:lumOff val="25000"/>
                </a:schemeClr>
              </a:solidFill>
              <a:latin typeface="-apple-system"/>
            </a:endParaRP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000000"/>
              </a:solidFill>
              <a:effectLst/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8539312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2283</TotalTime>
  <Words>677</Words>
  <Application>Microsoft Office PowerPoint</Application>
  <PresentationFormat>Widescreen</PresentationFormat>
  <Paragraphs>60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-apple-system</vt:lpstr>
      <vt:lpstr>Arial</vt:lpstr>
      <vt:lpstr>Calibri</vt:lpstr>
      <vt:lpstr>Helvetica Neue</vt:lpstr>
      <vt:lpstr>Trebuchet MS</vt:lpstr>
      <vt:lpstr>Wingdings</vt:lpstr>
      <vt:lpstr>Wingdings 3</vt:lpstr>
      <vt:lpstr>Facet</vt:lpstr>
      <vt:lpstr>think-cell Slide</vt:lpstr>
      <vt:lpstr>Lending Club case study</vt:lpstr>
      <vt:lpstr>Case Study Summary</vt:lpstr>
      <vt:lpstr>Data Cleaning and Manipulation</vt:lpstr>
      <vt:lpstr>Univariate Analysis – Continuous Variables</vt:lpstr>
      <vt:lpstr>Univariate Analysis – Categorical Variables</vt:lpstr>
      <vt:lpstr>Univariate Analysis – Categorical Variables</vt:lpstr>
      <vt:lpstr>Bi-variate and Segmented analysis</vt:lpstr>
      <vt:lpstr>Bi-variate and Segmented analysis</vt:lpstr>
      <vt:lpstr>Bi-variate and Segmented analysis</vt:lpstr>
      <vt:lpstr>Feature Engineering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nding Club case study</dc:title>
  <dc:creator>Singla, Jitesh</dc:creator>
  <cp:lastModifiedBy>Singla, Jitesh</cp:lastModifiedBy>
  <cp:revision>7</cp:revision>
  <dcterms:created xsi:type="dcterms:W3CDTF">2022-12-03T12:47:04Z</dcterms:created>
  <dcterms:modified xsi:type="dcterms:W3CDTF">2022-12-07T17:42:18Z</dcterms:modified>
</cp:coreProperties>
</file>